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7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提高制瓶工艺的灵活性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石英棒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Universal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1014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94C28EAF-E30A-4958-8E5C-BDFDCDA8D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7263" y="2225690"/>
            <a:ext cx="3873500" cy="12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450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stallation of a quartz bar between the heating lamp and the preform, in order to concentrate / focus the IR radiation.</a:t>
            </a:r>
            <a:endParaRPr lang="en-US" sz="1200" dirty="0">
              <a:solidFill>
                <a:srgbClr val="000000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ribute to solve heating problems, especially on the preform under neck area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ly for the first zone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ommended to secure </a:t>
            </a:r>
            <a:r>
              <a:rPr lang="en-US" sz="1200" b="1" dirty="0" err="1"/>
              <a:t>rPET</a:t>
            </a:r>
            <a:r>
              <a:rPr lang="en-US" sz="1200" b="1" dirty="0"/>
              <a:t> bottle production</a:t>
            </a:r>
            <a:r>
              <a:rPr lang="en-US" sz="1200" dirty="0"/>
              <a:t> for:</a:t>
            </a:r>
          </a:p>
          <a:p>
            <a:r>
              <a:rPr lang="en-US" sz="1200" dirty="0"/>
              <a:t>       a. neck protection</a:t>
            </a:r>
          </a:p>
          <a:p>
            <a:r>
              <a:rPr lang="en-US" sz="1200" dirty="0"/>
              <a:t>       b. process robustness</a:t>
            </a:r>
          </a:p>
          <a:p>
            <a:r>
              <a:rPr lang="en-US" sz="1200" dirty="0"/>
              <a:t>       c. ensure optimal material distribution</a:t>
            </a: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43D71727-EC53-4EC4-9272-88B5B6C9EF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2</TotalTime>
  <Words>74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提高制瓶工艺的灵活性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2</cp:revision>
  <dcterms:created xsi:type="dcterms:W3CDTF">2018-02-10T17:04:39Z</dcterms:created>
  <dcterms:modified xsi:type="dcterms:W3CDTF">2021-02-04T16:2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